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424" r:id="rId3"/>
    <p:sldMasterId id="2147485446" r:id="rId4"/>
    <p:sldMasterId id="2147485456" r:id="rId5"/>
    <p:sldMasterId id="2147485490" r:id="rId6"/>
  </p:sldMasterIdLst>
  <p:notesMasterIdLst>
    <p:notesMasterId r:id="rId16"/>
  </p:notesMasterIdLst>
  <p:handoutMasterIdLst>
    <p:handoutMasterId r:id="rId17"/>
  </p:handoutMasterIdLst>
  <p:sldIdLst>
    <p:sldId id="323" r:id="rId7"/>
    <p:sldId id="445" r:id="rId8"/>
    <p:sldId id="443" r:id="rId9"/>
    <p:sldId id="447" r:id="rId10"/>
    <p:sldId id="450" r:id="rId11"/>
    <p:sldId id="448" r:id="rId12"/>
    <p:sldId id="444" r:id="rId13"/>
    <p:sldId id="451" r:id="rId14"/>
    <p:sldId id="452" r:id="rId15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55" autoAdjust="0"/>
    <p:restoredTop sz="93995" autoAdjust="0"/>
  </p:normalViewPr>
  <p:slideViewPr>
    <p:cSldViewPr snapToGrid="0" snapToObjects="1">
      <p:cViewPr varScale="1">
        <p:scale>
          <a:sx n="81" d="100"/>
          <a:sy n="81" d="100"/>
        </p:scale>
        <p:origin x="120" y="47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9/2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9/2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06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494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498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281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82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370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9167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15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7/9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3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2510056" y="6356350"/>
            <a:ext cx="414633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7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139AF0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0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21F43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9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25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44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2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89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9609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423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7294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379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6127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3769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47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860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5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654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322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853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0768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812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1579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22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0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56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208105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9825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9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62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8296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5480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4531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2283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8457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0667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99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916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73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5520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6355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3867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5265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13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3260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3780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38414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501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7/9/2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327055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9150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7" r:id="rId5"/>
    <p:sldLayoutId id="2147485488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61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7" r:id="rId1"/>
    <p:sldLayoutId id="2147485448" r:id="rId2"/>
    <p:sldLayoutId id="2147485449" r:id="rId3"/>
    <p:sldLayoutId id="2147485451" r:id="rId4"/>
    <p:sldLayoutId id="2147485454" r:id="rId5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63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7" r:id="rId1"/>
    <p:sldLayoutId id="2147485458" r:id="rId2"/>
    <p:sldLayoutId id="2147485459" r:id="rId3"/>
    <p:sldLayoutId id="2147485460" r:id="rId4"/>
    <p:sldLayoutId id="2147485461" r:id="rId5"/>
    <p:sldLayoutId id="2147485462" r:id="rId6"/>
    <p:sldLayoutId id="2147485463" r:id="rId7"/>
    <p:sldLayoutId id="2147485464" r:id="rId8"/>
    <p:sldLayoutId id="2147485465" r:id="rId9"/>
    <p:sldLayoutId id="2147485466" r:id="rId10"/>
    <p:sldLayoutId id="2147485467" r:id="rId11"/>
    <p:sldLayoutId id="2147485468" r:id="rId12"/>
    <p:sldLayoutId id="2147485469" r:id="rId13"/>
    <p:sldLayoutId id="2147485470" r:id="rId14"/>
    <p:sldLayoutId id="2147485471" r:id="rId15"/>
    <p:sldLayoutId id="2147485472" r:id="rId16"/>
    <p:sldLayoutId id="2147485473" r:id="rId17"/>
    <p:sldLayoutId id="2147485474" r:id="rId18"/>
    <p:sldLayoutId id="2147485475" r:id="rId19"/>
    <p:sldLayoutId id="2147485476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194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  <p:sldLayoutId id="2147485503" r:id="rId13"/>
    <p:sldLayoutId id="2147485504" r:id="rId14"/>
    <p:sldLayoutId id="2147485505" r:id="rId15"/>
    <p:sldLayoutId id="2147485506" r:id="rId16"/>
    <p:sldLayoutId id="2147485507" r:id="rId17"/>
    <p:sldLayoutId id="2147485508" r:id="rId18"/>
    <p:sldLayoutId id="2147485509" r:id="rId19"/>
    <p:sldLayoutId id="2147485510" r:id="rId20"/>
    <p:sldLayoutId id="2147485511" r:id="rId21"/>
    <p:sldLayoutId id="2147485512" r:id="rId22"/>
    <p:sldLayoutId id="2147485513" r:id="rId23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G"/><Relationship Id="rId5" Type="http://schemas.openxmlformats.org/officeDocument/2006/relationships/image" Target="../media/image1.png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16" b="12156"/>
          <a:stretch/>
        </p:blipFill>
        <p:spPr>
          <a:xfrm>
            <a:off x="0" y="15125"/>
            <a:ext cx="9132277" cy="4389120"/>
          </a:xfrm>
          <a:prstGeom prst="rect">
            <a:avLst/>
          </a:prstGeom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138" y="6090471"/>
            <a:ext cx="2210432" cy="433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r="26016" b="50350"/>
          <a:stretch/>
        </p:blipFill>
        <p:spPr>
          <a:xfrm>
            <a:off x="7415101" y="162734"/>
            <a:ext cx="1571513" cy="987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04019" y="6080902"/>
            <a:ext cx="1403436" cy="45275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1683209" y="3253396"/>
            <a:ext cx="7449070" cy="430887"/>
          </a:xfrm>
          <a:prstGeom prst="rect">
            <a:avLst/>
          </a:prstGeom>
          <a:solidFill>
            <a:schemeClr val="bg1">
              <a:alpha val="9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Calibri" panose="020F0502020204030204" pitchFamily="34" charset="0"/>
              </a:rPr>
              <a:t>29</a:t>
            </a:r>
            <a:r>
              <a:rPr lang="en-US" sz="2200" baseline="30000" dirty="0">
                <a:latin typeface="Calibri" panose="020F0502020204030204" pitchFamily="34" charset="0"/>
              </a:rPr>
              <a:t>th</a:t>
            </a:r>
            <a:r>
              <a:rPr lang="en-US" sz="2200" dirty="0">
                <a:latin typeface="Calibri" panose="020F0502020204030204" pitchFamily="34" charset="0"/>
              </a:rPr>
              <a:t> September, 201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" y="2268511"/>
            <a:ext cx="9132278" cy="1077218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ja-JP" sz="3200" dirty="0">
                <a:solidFill>
                  <a:schemeClr val="bg1"/>
                </a:solidFill>
                <a:latin typeface="Calibri" panose="020F0502020204030204" pitchFamily="34" charset="0"/>
              </a:rPr>
              <a:t>IUWM</a:t>
            </a:r>
            <a: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</a:rPr>
              <a:t> TDD Action Planning</a:t>
            </a:r>
          </a:p>
          <a:p>
            <a:pPr algn="ctr"/>
            <a: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</a:rPr>
              <a:t>Country Name</a:t>
            </a:r>
            <a:endParaRPr lang="en-US" sz="2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80999" y="4696630"/>
            <a:ext cx="40682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me of delegates, Institution</a:t>
            </a:r>
          </a:p>
          <a:p>
            <a:r>
              <a:rPr lang="en-US" dirty="0"/>
              <a:t>Name of delegates, Institution</a:t>
            </a:r>
          </a:p>
          <a:p>
            <a:r>
              <a:rPr lang="en-US" dirty="0"/>
              <a:t>Name of WB Task Team Leader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36914" y="819397"/>
            <a:ext cx="51420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dirty="0"/>
              <a:t>*Please put the photo(s) of your country here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7255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1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1</a:t>
            </a:r>
            <a:r>
              <a:rPr lang="en-US" dirty="0"/>
              <a:t>. Key takeaways from IUWM TD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683832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your key takeaways from the Technical Deep Dive relevant to your project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the lessons from local partners, speakers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your takeaways from peer to peer learning?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30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2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2</a:t>
            </a:r>
            <a:r>
              <a:rPr lang="en-US" dirty="0"/>
              <a:t>. </a:t>
            </a:r>
            <a:r>
              <a:rPr lang="en-US" dirty="0"/>
              <a:t>What needs to be accomplished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509037"/>
            <a:ext cx="8799336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List up to 3 things to address the priority challenges you are facing in your context. 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14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3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7663" y="267527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3</a:t>
            </a:r>
            <a:r>
              <a:rPr lang="en-US" dirty="0"/>
              <a:t>. Approaches and action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5" y="1547538"/>
            <a:ext cx="8703083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B0F0"/>
                </a:solidFill>
                <a:latin typeface="Calibri" panose="020F0502020204030204" pitchFamily="34" charset="0"/>
              </a:rPr>
              <a:t>What approaches/solutions that were presented during the TDD are most applicable to addressing your challenges? </a:t>
            </a:r>
            <a:r>
              <a:rPr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are the methods you would like to apply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How would you do differently compared to before joining the TDD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How would you like to address the challenges among your bureau and to wider stakeholders?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9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are some of the action steps you can take in the next six months to apply/adapt this in your city/organizational context. 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8805" y="306369"/>
            <a:ext cx="7194572" cy="756707"/>
          </a:xfrm>
        </p:spPr>
        <p:txBody>
          <a:bodyPr/>
          <a:lstStyle/>
          <a:p>
            <a:r>
              <a:rPr lang="en-US" dirty="0"/>
              <a:t>4.</a:t>
            </a:r>
            <a:r>
              <a:rPr lang="ja-JP" altLang="en-US" dirty="0"/>
              <a:t> </a:t>
            </a:r>
            <a:r>
              <a:rPr lang="en-US" dirty="0"/>
              <a:t> Action Steps in the </a:t>
            </a:r>
            <a:r>
              <a:rPr lang="en-US" dirty="0"/>
              <a:t>f</a:t>
            </a:r>
            <a:r>
              <a:rPr lang="en-US" altLang="ja-JP" dirty="0"/>
              <a:t>irst 6 month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50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5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dirty="0"/>
              <a:t>5. </a:t>
            </a:r>
            <a:r>
              <a:rPr lang="en-US" dirty="0"/>
              <a:t>Key stakeholder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5" y="1393535"/>
            <a:ext cx="8837837" cy="849152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o are the key stakeholders you need to reach/ work with to implement the action steps?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2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6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dirty="0"/>
              <a:t>6. The timelin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712708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 What is the timeline to achieve 3-4 key milestones in the next six months?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94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7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dirty="0"/>
              <a:t>7. Opportunities and Barrier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712708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 What are 2-3 opportunities/barriers that you see in implementing the action plan?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31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8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dirty="0"/>
              <a:t>8. Needs for </a:t>
            </a:r>
            <a:r>
              <a:rPr lang="en-US" dirty="0" err="1"/>
              <a:t>assitanc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712708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 What concrete support/assistance will you need from TDLC to implement your action steps successfully.?  </a:t>
            </a:r>
            <a:endParaRPr kumimoji="1" lang="en-US" altLang="ja-JP" dirty="0">
              <a:solidFill>
                <a:srgbClr val="00B0F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83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19826</TotalTime>
  <Words>304</Words>
  <Application>Microsoft Office PowerPoint</Application>
  <PresentationFormat>On-screen Show (4:3)</PresentationFormat>
  <Paragraphs>43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6" baseType="lpstr">
      <vt:lpstr>MS PGothic</vt:lpstr>
      <vt:lpstr>MS PGothic</vt:lpstr>
      <vt:lpstr>ＭＳ 明朝</vt:lpstr>
      <vt:lpstr>Andes ExtraLight</vt:lpstr>
      <vt:lpstr>Arial</vt:lpstr>
      <vt:lpstr>Arial Bold</vt:lpstr>
      <vt:lpstr>Calibri</vt:lpstr>
      <vt:lpstr>Times New Roman</vt:lpstr>
      <vt:lpstr>Trebuchet MS</vt:lpstr>
      <vt:lpstr>Wingdings</vt:lpstr>
      <vt:lpstr>WBG-Any_Logo</vt:lpstr>
      <vt:lpstr>Full Page Interior</vt:lpstr>
      <vt:lpstr>1_Full Page Interior</vt:lpstr>
      <vt:lpstr>1_WBG-Any_Logo</vt:lpstr>
      <vt:lpstr>2_Full Page Interior</vt:lpstr>
      <vt:lpstr>3_Full Page Interior</vt:lpstr>
      <vt:lpstr>think-cell Slide</vt:lpstr>
      <vt:lpstr>PowerPoint Presentation</vt:lpstr>
      <vt:lpstr>1. Key takeaways from IUWM TDD</vt:lpstr>
      <vt:lpstr>2. What needs to be accomplished</vt:lpstr>
      <vt:lpstr>3. Approaches and actions</vt:lpstr>
      <vt:lpstr>4.  Action Steps in the first 6 months</vt:lpstr>
      <vt:lpstr>5. Key stakeholders</vt:lpstr>
      <vt:lpstr>6. The timeline</vt:lpstr>
      <vt:lpstr>7. Opportunities and Barriers</vt:lpstr>
      <vt:lpstr>8. Needs for assit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A2016 World Bank TDLC</dc:title>
  <dc:creator>Daniel Levine</dc:creator>
  <cp:lastModifiedBy>Chiyuki Mifuji</cp:lastModifiedBy>
  <cp:revision>381</cp:revision>
  <cp:lastPrinted>2016-07-12T00:19:38Z</cp:lastPrinted>
  <dcterms:created xsi:type="dcterms:W3CDTF">2014-09-04T17:37:55Z</dcterms:created>
  <dcterms:modified xsi:type="dcterms:W3CDTF">2017-09-21T08:38:24Z</dcterms:modified>
</cp:coreProperties>
</file>